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1210" r:id="rId2"/>
    <p:sldId id="1212" r:id="rId3"/>
    <p:sldId id="1213" r:id="rId4"/>
    <p:sldId id="1217" r:id="rId5"/>
    <p:sldId id="1218" r:id="rId6"/>
    <p:sldId id="1219" r:id="rId7"/>
    <p:sldId id="1220" r:id="rId8"/>
    <p:sldId id="1224" r:id="rId9"/>
    <p:sldId id="1221" r:id="rId10"/>
    <p:sldId id="1222" r:id="rId11"/>
    <p:sldId id="1223" r:id="rId12"/>
    <p:sldId id="1227" r:id="rId13"/>
  </p:sldIdLst>
  <p:sldSz cx="24387175" cy="13717588"/>
  <p:notesSz cx="6858000" cy="9144000"/>
  <p:embeddedFontLst>
    <p:embeddedFont>
      <p:font typeface="Calibri" pitchFamily="34" charset="0"/>
      <p:regular r:id="rId16"/>
      <p:bold r:id="rId17"/>
      <p:italic r:id="rId18"/>
      <p:boldItalic r:id="rId19"/>
    </p:embeddedFont>
    <p:embeddedFont>
      <p:font typeface="Cera Pro" charset="0"/>
      <p:regular r:id="rId20"/>
      <p:bold r:id="rId21"/>
      <p:italic r:id="rId22"/>
      <p:boldItalic r:id="rId23"/>
    </p:embeddedFont>
    <p:embeddedFont>
      <p:font typeface="Cera Pro Medium" charset="0"/>
      <p:regular r:id="rId24"/>
      <p:italic r:id="rId25"/>
    </p:embeddedFont>
    <p:embeddedFont>
      <p:font typeface="Verdana" pitchFamily="34" charset="0"/>
      <p:regular r:id="rId26"/>
      <p:bold r:id="rId27"/>
      <p:italic r:id="rId28"/>
      <p:boldItalic r:id="rId29"/>
    </p:embeddedFont>
  </p:embeddedFontLst>
  <p:custDataLst>
    <p:tags r:id="rId30"/>
  </p:custDataLst>
  <p:defaultTextStyle>
    <a:defPPr>
      <a:defRPr lang="ru-RU"/>
    </a:defPPr>
    <a:lvl1pPr marL="0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1pPr>
    <a:lvl2pPr marL="1219261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2pPr>
    <a:lvl3pPr marL="2438522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3pPr>
    <a:lvl4pPr marL="3657783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4pPr>
    <a:lvl5pPr marL="4877044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5pPr>
    <a:lvl6pPr marL="6096305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6pPr>
    <a:lvl7pPr marL="7315566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7pPr>
    <a:lvl8pPr marL="8534827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8pPr>
    <a:lvl9pPr marL="9754088" algn="l" defTabSz="2438522" rtl="0" eaLnBrk="1" latinLnBrk="0" hangingPunct="1">
      <a:defRPr sz="4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320">
          <p15:clr>
            <a:srgbClr val="A4A3A4"/>
          </p15:clr>
        </p15:guide>
        <p15:guide id="2" pos="768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пользователь Microsoft Office" initials="Office" lastIdx="1" clrIdx="0"/>
  <p:cmAuthor id="2" name="пользователь Microsoft Office" initials="Office [2]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58F"/>
    <a:srgbClr val="4F1C92"/>
    <a:srgbClr val="EFF2F6"/>
    <a:srgbClr val="8297A2"/>
    <a:srgbClr val="3C1271"/>
    <a:srgbClr val="AF207F"/>
    <a:srgbClr val="E6EAEC"/>
    <a:srgbClr val="3D1272"/>
    <a:srgbClr val="E8EAEB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165" autoAdjust="0"/>
    <p:restoredTop sz="94196" autoAdjust="0"/>
  </p:normalViewPr>
  <p:slideViewPr>
    <p:cSldViewPr>
      <p:cViewPr>
        <p:scale>
          <a:sx n="38" d="100"/>
          <a:sy n="38" d="100"/>
        </p:scale>
        <p:origin x="-888" y="-72"/>
      </p:cViewPr>
      <p:guideLst>
        <p:guide orient="horz" pos="4320"/>
        <p:guide pos="7681"/>
      </p:guideLst>
    </p:cSldViewPr>
  </p:slideViewPr>
  <p:outlineViewPr>
    <p:cViewPr>
      <p:scale>
        <a:sx n="33" d="100"/>
        <a:sy n="33" d="100"/>
      </p:scale>
      <p:origin x="0" y="2482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38842"/>
    </p:cViewPr>
  </p:sorterViewPr>
  <p:notesViewPr>
    <p:cSldViewPr>
      <p:cViewPr varScale="1">
        <p:scale>
          <a:sx n="67" d="100"/>
          <a:sy n="67" d="100"/>
        </p:scale>
        <p:origin x="-3120" y="-77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font" Target="fonts/font11.fntdata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font" Target="fonts/font10.fntdata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29" Type="http://schemas.openxmlformats.org/officeDocument/2006/relationships/font" Target="fonts/font1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9.fntdata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23" Type="http://schemas.openxmlformats.org/officeDocument/2006/relationships/font" Target="fonts/font8.fntdata"/><Relationship Id="rId28" Type="http://schemas.openxmlformats.org/officeDocument/2006/relationships/font" Target="fonts/font13.fntdata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7.fntdata"/><Relationship Id="rId27" Type="http://schemas.openxmlformats.org/officeDocument/2006/relationships/font" Target="fonts/font12.fntdata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D41B0E-0A9B-FB43-B29A-2C5A495EA0A7}" type="datetimeFigureOut">
              <a:rPr lang="ru-RU" smtClean="0"/>
              <a:t>03.08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111949-EE69-F440-BF44-484174DCC2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924279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E03F2D-4C40-8A47-B131-FA84CE0A3C0A}" type="datetimeFigureOut">
              <a:rPr lang="ru-RU" smtClean="0"/>
              <a:pPr/>
              <a:t>03.08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3FC40D-6FB9-1648-B027-EAD4E7DC4F2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07415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1pPr>
    <a:lvl2pPr marL="1219261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2pPr>
    <a:lvl3pPr marL="2438522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3pPr>
    <a:lvl4pPr marL="3657783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4pPr>
    <a:lvl5pPr marL="4877044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5pPr>
    <a:lvl6pPr marL="6096305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6pPr>
    <a:lvl7pPr marL="7315566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7pPr>
    <a:lvl8pPr marL="8534827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8pPr>
    <a:lvl9pPr marL="9754088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12" Type="http://schemas.openxmlformats.org/officeDocument/2006/relationships/image" Target="../media/image12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11" Type="http://schemas.openxmlformats.org/officeDocument/2006/relationships/image" Target="../media/image8.png"/><Relationship Id="rId5" Type="http://schemas.openxmlformats.org/officeDocument/2006/relationships/image" Target="../media/image4.emf"/><Relationship Id="rId10" Type="http://schemas.openxmlformats.org/officeDocument/2006/relationships/image" Target="../media/image10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8.svg"/><Relationship Id="rId7" Type="http://schemas.openxmlformats.org/officeDocument/2006/relationships/image" Target="../media/image14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10.svg"/><Relationship Id="rId4" Type="http://schemas.openxmlformats.org/officeDocument/2006/relationships/image" Target="../media/image7.png"/><Relationship Id="rId9" Type="http://schemas.openxmlformats.org/officeDocument/2006/relationships/image" Target="../media/image1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7" Type="http://schemas.openxmlformats.org/officeDocument/2006/relationships/image" Target="../media/image12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10.svg"/><Relationship Id="rId4" Type="http://schemas.openxmlformats.org/officeDocument/2006/relationships/image" Target="../media/image7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7.png"/><Relationship Id="rId4" Type="http://schemas.openxmlformats.org/officeDocument/2006/relationships/image" Target="../media/image8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14272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1" y="4554538"/>
            <a:ext cx="4122788" cy="4537075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21014095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21014095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xmlns="" id="{885BFF11-F259-C34E-8768-6DE908711D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xmlns="" id="{5235DE18-0DDD-324A-8CD7-767F9F7E79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3926B42E-88AA-CA43-AF96-725F22F75B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D0CA2C06-1F75-FD4A-B09B-9264F6B1445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23FBC652-E18D-2147-AF27-6674DF55B60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22907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-3" y="4554538"/>
            <a:ext cx="24387173" cy="4537075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4554538"/>
            <a:ext cx="21014095" cy="7418400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21014095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21014095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7" name="Нижний колонтитул 4">
            <a:extLst>
              <a:ext uri="{FF2B5EF4-FFF2-40B4-BE49-F238E27FC236}">
                <a16:creationId xmlns:a16="http://schemas.microsoft.com/office/drawing/2014/main" xmlns="" id="{60B2AAA5-4E7E-3A4B-857A-CE3844A595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xmlns="" id="{79F62399-A5E0-1B4B-8E97-3267233F62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143DD53A-92C1-514E-93DA-3FE97B3320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9DFD11B4-AF91-FB4C-B93C-74F33FF0CCC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95DC2BDA-C8FC-7642-82A9-5FA79BDB7BE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12294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6914031"/>
            <a:ext cx="9001001" cy="6554304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3025599"/>
            <a:ext cx="15841761" cy="30243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2106266"/>
            <a:ext cx="900100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D24A289F-4427-4041-9A22-6D3C99E7444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47250" y="-4330"/>
            <a:ext cx="3299665" cy="2110596"/>
          </a:xfrm>
          <a:prstGeom prst="rect">
            <a:avLst/>
          </a:prstGeom>
        </p:spPr>
      </p:pic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xmlns="" id="{A87501E9-EDB8-A342-8661-7DC965E5A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2" name="Номер слайда 5">
            <a:extLst>
              <a:ext uri="{FF2B5EF4-FFF2-40B4-BE49-F238E27FC236}">
                <a16:creationId xmlns:a16="http://schemas.microsoft.com/office/drawing/2014/main" xmlns="" id="{F268B4B4-5C34-B442-8AAC-2B8A1F76B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FE60F4BB-24E9-6E41-A202-B2243072AFA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19A18573-B53C-AB42-BD95-2F241EEF3E4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087D9F5D-C790-0140-9078-AC8FA8DECC8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80636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273708" y="5418634"/>
            <a:ext cx="9721080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11161241" cy="30243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900100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13273707" y="9109919"/>
            <a:ext cx="9721080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7" hasCustomPrompt="1"/>
          </p:nvPr>
        </p:nvSpPr>
        <p:spPr>
          <a:xfrm>
            <a:off x="6091237" y="5418634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8" hasCustomPrompt="1"/>
          </p:nvPr>
        </p:nvSpPr>
        <p:spPr>
          <a:xfrm>
            <a:off x="6091237" y="9091613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1" name="Нижний колонтитул 4">
            <a:extLst>
              <a:ext uri="{FF2B5EF4-FFF2-40B4-BE49-F238E27FC236}">
                <a16:creationId xmlns:a16="http://schemas.microsoft.com/office/drawing/2014/main" xmlns="" id="{12DF192E-0288-6845-80E4-24B7799D2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xmlns="" id="{95445BD2-B680-E14A-A3FB-90F8F82487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5D24F85D-3AE3-184B-9B3E-F335153CE5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EA7299AC-C603-DB42-9C62-19108320EF0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FC682F83-A48A-414A-8212-C188315DC7D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08855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3273708" y="6335861"/>
            <a:ext cx="9721079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6" hasCustomPrompt="1"/>
          </p:nvPr>
        </p:nvSpPr>
        <p:spPr>
          <a:xfrm>
            <a:off x="13273707" y="10027146"/>
            <a:ext cx="9721079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7" hasCustomPrompt="1"/>
          </p:nvPr>
        </p:nvSpPr>
        <p:spPr>
          <a:xfrm>
            <a:off x="13282462" y="2644576"/>
            <a:ext cx="9721079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8" hasCustomPrompt="1"/>
          </p:nvPr>
        </p:nvSpPr>
        <p:spPr>
          <a:xfrm>
            <a:off x="6091237" y="6335861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9" hasCustomPrompt="1"/>
          </p:nvPr>
        </p:nvSpPr>
        <p:spPr>
          <a:xfrm>
            <a:off x="6091237" y="10008840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Текст 3"/>
          <p:cNvSpPr>
            <a:spLocks noGrp="1"/>
          </p:cNvSpPr>
          <p:nvPr>
            <p:ph type="body" sz="quarter" idx="20" hasCustomPrompt="1"/>
          </p:nvPr>
        </p:nvSpPr>
        <p:spPr>
          <a:xfrm>
            <a:off x="6091237" y="2644576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9" name="Нижний колонтитул 4">
            <a:extLst>
              <a:ext uri="{FF2B5EF4-FFF2-40B4-BE49-F238E27FC236}">
                <a16:creationId xmlns:a16="http://schemas.microsoft.com/office/drawing/2014/main" xmlns="" id="{E8C98F18-36E9-234B-85E7-A77182C712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xmlns="" id="{6DC28A99-6C09-1A48-87BA-791FBD66EB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B7BBCCBE-7823-DB4A-96A5-1533297513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B52A5117-84FF-A44C-8C49-9D0BE8708EF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F2B4ED8F-B2D8-6B45-A569-300A670F5A9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86336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11953329" cy="2232248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</a:t>
            </a:r>
            <a:br>
              <a:rPr lang="ru-RU" dirty="0"/>
            </a:br>
            <a:r>
              <a:rPr lang="ru-RU" dirty="0"/>
              <a:t>ДЛЯ ПОСТРОЕНИЯ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900100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25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1968450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6" name="Рисунок 21"/>
          <p:cNvSpPr>
            <a:spLocks noGrp="1"/>
          </p:cNvSpPr>
          <p:nvPr>
            <p:ph type="pic" sz="quarter" idx="33"/>
          </p:nvPr>
        </p:nvSpPr>
        <p:spPr>
          <a:xfrm flipH="1">
            <a:off x="6299858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7" name="Рисунок 21"/>
          <p:cNvSpPr>
            <a:spLocks noGrp="1"/>
          </p:cNvSpPr>
          <p:nvPr>
            <p:ph type="pic" sz="quarter" idx="34"/>
          </p:nvPr>
        </p:nvSpPr>
        <p:spPr>
          <a:xfrm flipH="1">
            <a:off x="10631266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8" name="Рисунок 21"/>
          <p:cNvSpPr>
            <a:spLocks noGrp="1"/>
          </p:cNvSpPr>
          <p:nvPr>
            <p:ph type="pic" sz="quarter" idx="35"/>
          </p:nvPr>
        </p:nvSpPr>
        <p:spPr>
          <a:xfrm flipH="1">
            <a:off x="14962674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9" name="Рисунок 21"/>
          <p:cNvSpPr>
            <a:spLocks noGrp="1"/>
          </p:cNvSpPr>
          <p:nvPr>
            <p:ph type="pic" sz="quarter" idx="36"/>
          </p:nvPr>
        </p:nvSpPr>
        <p:spPr>
          <a:xfrm flipH="1">
            <a:off x="19294082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xmlns="" id="{A3210922-F239-6D46-88FC-0D0955E118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xmlns="" id="{5645A53E-1A05-9942-B30F-9E0D967CC9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4AED6A8A-CC0E-2A46-8420-776713AED7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969ECF35-4003-4342-906D-7D56C2F0066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5B966230-F03F-1E4E-9644-0C3FA3D20A5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0350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18280062" y="0"/>
            <a:ext cx="6107111" cy="13717588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14761641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1476164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4554538"/>
            <a:ext cx="14761641" cy="7418400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xmlns="" id="{F0110BBE-69A1-5F42-87AE-2A59C03E8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xmlns="" id="{2575E12E-523F-5B40-9264-6E66509D70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bg2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dirty="0">
              <a:solidFill>
                <a:schemeClr val="bg2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706BBF69-4255-4745-AF97-F2DCDE2A5A5C}"/>
              </a:ext>
            </a:extLst>
          </p:cNvPr>
          <p:cNvSpPr txBox="1"/>
          <p:nvPr userDrawn="1"/>
        </p:nvSpPr>
        <p:spPr>
          <a:xfrm>
            <a:off x="17097555" y="2467155"/>
            <a:ext cx="18473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4230226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12196763" y="0"/>
            <a:ext cx="12190412" cy="13717588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xmlns="" id="{0EEE1B71-5C42-3D46-A08C-63A15F8B0D7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14761641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xmlns="" id="{A6EF65B1-512D-B142-BDED-B9C9D0FFA8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1476164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9" name="Текст 3">
            <a:extLst>
              <a:ext uri="{FF2B5EF4-FFF2-40B4-BE49-F238E27FC236}">
                <a16:creationId xmlns:a16="http://schemas.microsoft.com/office/drawing/2014/main" xmlns="" id="{C0839B15-5196-E34B-ADB1-F5A718D88B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4554538"/>
            <a:ext cx="14761641" cy="7418400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xmlns="" id="{27068359-4590-284A-86FA-8C99B8DC17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xmlns="" id="{151D788A-E1D2-A649-963F-283066BD0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bg2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44540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0" y="9091613"/>
            <a:ext cx="24387175" cy="4625975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4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4554538"/>
            <a:ext cx="21014095" cy="3816424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10228313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16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10228313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marR="0" lvl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xmlns="" id="{495C697D-9DAA-D34B-A9E9-715299410E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bg2"/>
                </a:solidFill>
                <a:latin typeface="Cera Pro" pitchFamily="2" charset="0"/>
              </a:defRPr>
            </a:lvl1pPr>
          </a:lstStyle>
          <a:p>
            <a:r>
              <a:rPr lang="ru-RU"/>
              <a:t>© УМНЫЙ ГОРОД</a:t>
            </a:r>
            <a:endParaRPr lang="ru-RU" dirty="0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xmlns="" id="{4FB0FC8B-0132-7145-8E7D-694EECDC1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bg2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471C47BD-2889-094C-A347-74075E62E1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DA327888-A8E5-DC47-8867-2D46004A111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AAFC9496-9DC6-5342-B1D1-18CE10BCFC4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23935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0" y="9091613"/>
            <a:ext cx="24387175" cy="4625975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2196763" y="3618433"/>
            <a:ext cx="10786378" cy="4537076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9046" y="3618433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0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9046" y="2682330"/>
            <a:ext cx="7344817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marR="0" lvl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11" name="Нижний колонтитул 4">
            <a:extLst>
              <a:ext uri="{FF2B5EF4-FFF2-40B4-BE49-F238E27FC236}">
                <a16:creationId xmlns:a16="http://schemas.microsoft.com/office/drawing/2014/main" xmlns="" id="{84D00C8E-0AB1-E24D-8EDD-7BBF22F178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bg2"/>
                </a:solidFill>
                <a:latin typeface="Cera Pro" pitchFamily="2" charset="0"/>
              </a:defRPr>
            </a:lvl1pPr>
          </a:lstStyle>
          <a:p>
            <a:r>
              <a:rPr lang="ru-RU"/>
              <a:t>© УМНЫЙ ГОРОД</a:t>
            </a:r>
            <a:endParaRPr lang="ru-RU" dirty="0"/>
          </a:p>
        </p:txBody>
      </p:sp>
      <p:sp>
        <p:nvSpPr>
          <p:cNvPr id="12" name="Номер слайда 5">
            <a:extLst>
              <a:ext uri="{FF2B5EF4-FFF2-40B4-BE49-F238E27FC236}">
                <a16:creationId xmlns:a16="http://schemas.microsoft.com/office/drawing/2014/main" xmlns="" id="{63096273-3466-A248-9F0A-300CA52B7D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bg2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C89C36EB-4855-8248-80EC-543FBF9688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4E7E4EBF-EDD6-224A-A9FB-9C33C0AD21E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B26C8B7D-9799-0348-9FF1-96A9C929429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29977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xmlns="" id="{63598BC9-5BA6-F04E-AC85-81D102B175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9238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F1ACA1C4-C929-2E48-AFC5-D2D3536CCB45}"/>
              </a:ext>
            </a:extLst>
          </p:cNvPr>
          <p:cNvSpPr/>
          <p:nvPr userDrawn="1"/>
        </p:nvSpPr>
        <p:spPr>
          <a:xfrm>
            <a:off x="0" y="0"/>
            <a:ext cx="24387175" cy="88030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xmlns="" id="{26D37957-7995-8748-9F3F-D31F5C68B5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9046" y="4986586"/>
            <a:ext cx="16345221" cy="158417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12000" b="1" i="0" kern="1200" spc="0" baseline="0" dirty="0">
                <a:solidFill>
                  <a:schemeClr val="bg2"/>
                </a:solidFill>
                <a:latin typeface="DIN Pro" panose="020B0504020101010102" pitchFamily="34" charset="0"/>
                <a:ea typeface="Verdana" charset="0"/>
                <a:cs typeface="DIN Pro" panose="020B0504020101010102" pitchFamily="34" charset="0"/>
              </a:defRPr>
            </a:lvl1pPr>
          </a:lstStyle>
          <a:p>
            <a:r>
              <a:rPr lang="ru-RU" dirty="0"/>
              <a:t>УМНЫЙ ГОРОД</a:t>
            </a:r>
          </a:p>
        </p:txBody>
      </p:sp>
      <p:sp>
        <p:nvSpPr>
          <p:cNvPr id="18" name="Текст 3">
            <a:extLst>
              <a:ext uri="{FF2B5EF4-FFF2-40B4-BE49-F238E27FC236}">
                <a16:creationId xmlns:a16="http://schemas.microsoft.com/office/drawing/2014/main" xmlns="" id="{34A8F60E-FC38-C348-8D50-95F95EB961D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69046" y="6570763"/>
            <a:ext cx="16345221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6600" b="0" i="0" kern="1200" baseline="0" dirty="0">
                <a:solidFill>
                  <a:schemeClr val="bg2"/>
                </a:solidFill>
                <a:effectLst/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ЭКОЛОГИЧЕСКАЯ БЕЗОПАСНОСТЬ</a:t>
            </a:r>
            <a:endParaRPr lang="en-US" dirty="0"/>
          </a:p>
        </p:txBody>
      </p:sp>
      <p:sp>
        <p:nvSpPr>
          <p:cNvPr id="21" name="Текст 3">
            <a:extLst>
              <a:ext uri="{FF2B5EF4-FFF2-40B4-BE49-F238E27FC236}">
                <a16:creationId xmlns:a16="http://schemas.microsoft.com/office/drawing/2014/main" xmlns="" id="{85D29FE3-595F-514F-8E31-FA7376AF193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69046" y="820976"/>
            <a:ext cx="16345221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800" b="0" i="0" kern="1200" baseline="0" dirty="0">
                <a:solidFill>
                  <a:schemeClr val="bg2">
                    <a:alpha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НАЗВАНИЕ КОНФЕРЕНЦИИ</a:t>
            </a:r>
          </a:p>
        </p:txBody>
      </p:sp>
      <p:sp>
        <p:nvSpPr>
          <p:cNvPr id="23" name="Текст 3">
            <a:extLst>
              <a:ext uri="{FF2B5EF4-FFF2-40B4-BE49-F238E27FC236}">
                <a16:creationId xmlns:a16="http://schemas.microsoft.com/office/drawing/2014/main" xmlns="" id="{51570351-A1A9-1446-8F40-FC16C1B86CE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69046" y="9542562"/>
            <a:ext cx="16345221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l" defTabSz="243888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44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Лёля Жвирблис,</a:t>
            </a:r>
          </a:p>
        </p:txBody>
      </p:sp>
      <p:sp>
        <p:nvSpPr>
          <p:cNvPr id="24" name="Текст 3">
            <a:extLst>
              <a:ext uri="{FF2B5EF4-FFF2-40B4-BE49-F238E27FC236}">
                <a16:creationId xmlns:a16="http://schemas.microsoft.com/office/drawing/2014/main" xmlns="" id="{5A9412ED-5A95-C042-BB31-297481852CC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69046" y="10171162"/>
            <a:ext cx="16345221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44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куратор проекта «Умный город»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xmlns="" id="{18348EFD-562D-E448-87FF-E79DFB070B77}"/>
              </a:ext>
            </a:extLst>
          </p:cNvPr>
          <p:cNvCxnSpPr>
            <a:cxnSpLocks/>
          </p:cNvCxnSpPr>
          <p:nvPr userDrawn="1"/>
        </p:nvCxnSpPr>
        <p:spPr>
          <a:xfrm>
            <a:off x="1969046" y="11611322"/>
            <a:ext cx="2131377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Текст 3">
            <a:extLst>
              <a:ext uri="{FF2B5EF4-FFF2-40B4-BE49-F238E27FC236}">
                <a16:creationId xmlns:a16="http://schemas.microsoft.com/office/drawing/2014/main" xmlns="" id="{C160A1A6-74B4-564C-A15D-5FC7671F77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896443" y="11817609"/>
            <a:ext cx="16345221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нлайн-заседание комитета по экологии и охране окружающей среды Ассоциации менеджеров</a:t>
            </a:r>
          </a:p>
        </p:txBody>
      </p:sp>
      <p:sp>
        <p:nvSpPr>
          <p:cNvPr id="28" name="Текст 3">
            <a:extLst>
              <a:ext uri="{FF2B5EF4-FFF2-40B4-BE49-F238E27FC236}">
                <a16:creationId xmlns:a16="http://schemas.microsoft.com/office/drawing/2014/main" xmlns="" id="{D6E50203-92EA-BF47-8082-98A9BCBA2E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050571" y="11817609"/>
            <a:ext cx="2220293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28 сентября 2020 </a:t>
            </a: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7124A3CC-D9CD-594A-BA56-C4F140763C8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2602864" y="614690"/>
            <a:ext cx="11277600" cy="175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2022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11329491" y="0"/>
            <a:ext cx="6107112" cy="43688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5" name="Рисунок 21"/>
          <p:cNvSpPr>
            <a:spLocks noGrp="1"/>
          </p:cNvSpPr>
          <p:nvPr>
            <p:ph type="pic" sz="quarter" idx="33"/>
          </p:nvPr>
        </p:nvSpPr>
        <p:spPr>
          <a:xfrm flipH="1">
            <a:off x="11329492" y="4749800"/>
            <a:ext cx="6107112" cy="41656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6" name="Рисунок 21"/>
          <p:cNvSpPr>
            <a:spLocks noGrp="1"/>
          </p:cNvSpPr>
          <p:nvPr>
            <p:ph type="pic" sz="quarter" idx="34"/>
          </p:nvPr>
        </p:nvSpPr>
        <p:spPr>
          <a:xfrm flipH="1">
            <a:off x="11329492" y="9296400"/>
            <a:ext cx="6107112" cy="4437906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35" hasCustomPrompt="1"/>
          </p:nvPr>
        </p:nvSpPr>
        <p:spPr>
          <a:xfrm>
            <a:off x="18304842" y="666106"/>
            <a:ext cx="5325416" cy="3479088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9046" y="4554537"/>
            <a:ext cx="6552133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18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9046" y="3618434"/>
            <a:ext cx="6552133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marR="0" lvl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36" hasCustomPrompt="1"/>
          </p:nvPr>
        </p:nvSpPr>
        <p:spPr>
          <a:xfrm>
            <a:off x="18304842" y="5022589"/>
            <a:ext cx="5325416" cy="3479088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</a:t>
            </a:r>
            <a:endParaRPr lang="en-US" dirty="0"/>
          </a:p>
        </p:txBody>
      </p:sp>
      <p:sp>
        <p:nvSpPr>
          <p:cNvPr id="20" name="Текст 3"/>
          <p:cNvSpPr>
            <a:spLocks noGrp="1"/>
          </p:cNvSpPr>
          <p:nvPr>
            <p:ph type="body" sz="quarter" idx="37" hasCustomPrompt="1"/>
          </p:nvPr>
        </p:nvSpPr>
        <p:spPr>
          <a:xfrm>
            <a:off x="18304842" y="9640404"/>
            <a:ext cx="5325416" cy="3479088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0" name="Нижний колонтитул 4">
            <a:extLst>
              <a:ext uri="{FF2B5EF4-FFF2-40B4-BE49-F238E27FC236}">
                <a16:creationId xmlns:a16="http://schemas.microsoft.com/office/drawing/2014/main" xmlns="" id="{F66AA6B5-6586-3F4D-AD1E-56B9B1EE7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xmlns="" id="{01440763-1B85-3642-9B42-7546E5EF9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0DA38582-B0C5-1E44-967A-70998EB559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 flipH="1">
            <a:off x="0" y="-13826"/>
            <a:ext cx="8438420" cy="151130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0383D937-2550-0D4A-A6D8-669DEBCC01A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316771" y="137194"/>
            <a:ext cx="2518338" cy="1348804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80917E17-F9C6-5548-AB57-6716BEB11F8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680419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60790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Рисунок 21"/>
          <p:cNvSpPr>
            <a:spLocks noGrp="1"/>
          </p:cNvSpPr>
          <p:nvPr>
            <p:ph type="pic" sz="quarter" idx="32"/>
          </p:nvPr>
        </p:nvSpPr>
        <p:spPr>
          <a:xfrm>
            <a:off x="-1" y="0"/>
            <a:ext cx="10897443" cy="66802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35" hasCustomPrompt="1"/>
          </p:nvPr>
        </p:nvSpPr>
        <p:spPr>
          <a:xfrm>
            <a:off x="12214150" y="2072608"/>
            <a:ext cx="10780638" cy="4607592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6" name="Рисунок 21"/>
          <p:cNvSpPr>
            <a:spLocks noGrp="1"/>
          </p:cNvSpPr>
          <p:nvPr>
            <p:ph type="pic" sz="quarter" idx="36"/>
          </p:nvPr>
        </p:nvSpPr>
        <p:spPr>
          <a:xfrm>
            <a:off x="-1" y="7002810"/>
            <a:ext cx="10897443" cy="670002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37" hasCustomPrompt="1"/>
          </p:nvPr>
        </p:nvSpPr>
        <p:spPr>
          <a:xfrm>
            <a:off x="12214150" y="7617075"/>
            <a:ext cx="10780638" cy="5520826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38" hasCustomPrompt="1"/>
          </p:nvPr>
        </p:nvSpPr>
        <p:spPr>
          <a:xfrm>
            <a:off x="1464443" y="4554537"/>
            <a:ext cx="8712920" cy="176698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39" hasCustomPrompt="1"/>
          </p:nvPr>
        </p:nvSpPr>
        <p:spPr>
          <a:xfrm>
            <a:off x="1464443" y="11539314"/>
            <a:ext cx="8712920" cy="176698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3" name="Нижний колонтитул 4">
            <a:extLst>
              <a:ext uri="{FF2B5EF4-FFF2-40B4-BE49-F238E27FC236}">
                <a16:creationId xmlns:a16="http://schemas.microsoft.com/office/drawing/2014/main" xmlns="" id="{A2305843-0202-7D4C-91E9-C69D8E6D23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121446" y="129158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xmlns="" id="{7EC0E183-0B4F-F24E-B7B1-34713F5303C5}"/>
              </a:ext>
            </a:extLst>
          </p:cNvPr>
          <p:cNvSpPr txBox="1">
            <a:spLocks/>
          </p:cNvSpPr>
          <p:nvPr userDrawn="1"/>
        </p:nvSpPr>
        <p:spPr>
          <a:xfrm>
            <a:off x="17944341" y="12915850"/>
            <a:ext cx="5188024" cy="720080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2438522" rtl="0" eaLnBrk="1" latinLnBrk="0" hangingPunct="1">
              <a:defRPr sz="2400" b="0" i="0" kern="1200">
                <a:solidFill>
                  <a:schemeClr val="accent1"/>
                </a:solidFill>
                <a:latin typeface="Cera Pro Medium" pitchFamily="2" charset="0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1A8EEC64-CE99-7645-8EF5-00E4AD17CE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54B6D09B-6628-3B4C-97F1-B081F52EEB4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83CF12A9-26E3-2146-8082-9200F81A011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08711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Рисунок 21"/>
          <p:cNvSpPr>
            <a:spLocks noGrp="1"/>
          </p:cNvSpPr>
          <p:nvPr>
            <p:ph type="pic" sz="quarter" idx="34"/>
          </p:nvPr>
        </p:nvSpPr>
        <p:spPr>
          <a:xfrm flipH="1">
            <a:off x="2184475" y="4122490"/>
            <a:ext cx="3755534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44" name="Рисунок 21"/>
          <p:cNvSpPr>
            <a:spLocks noGrp="1"/>
          </p:cNvSpPr>
          <p:nvPr>
            <p:ph type="pic" sz="quarter" idx="46"/>
          </p:nvPr>
        </p:nvSpPr>
        <p:spPr>
          <a:xfrm flipH="1">
            <a:off x="6229556" y="4122490"/>
            <a:ext cx="3755534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45" name="Рисунок 21"/>
          <p:cNvSpPr>
            <a:spLocks noGrp="1"/>
          </p:cNvSpPr>
          <p:nvPr>
            <p:ph type="pic" sz="quarter" idx="47"/>
          </p:nvPr>
        </p:nvSpPr>
        <p:spPr>
          <a:xfrm flipH="1">
            <a:off x="10274637" y="4122490"/>
            <a:ext cx="3755534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46" name="Рисунок 21"/>
          <p:cNvSpPr>
            <a:spLocks noGrp="1"/>
          </p:cNvSpPr>
          <p:nvPr>
            <p:ph type="pic" sz="quarter" idx="48"/>
          </p:nvPr>
        </p:nvSpPr>
        <p:spPr>
          <a:xfrm flipH="1">
            <a:off x="14319717" y="4122490"/>
            <a:ext cx="3755534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47" name="Рисунок 21"/>
          <p:cNvSpPr>
            <a:spLocks noGrp="1"/>
          </p:cNvSpPr>
          <p:nvPr>
            <p:ph type="pic" sz="quarter" idx="49"/>
          </p:nvPr>
        </p:nvSpPr>
        <p:spPr>
          <a:xfrm flipH="1">
            <a:off x="18890335" y="4129191"/>
            <a:ext cx="3888428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21014095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0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9145017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marR="0" lvl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20" name="Текст 3"/>
          <p:cNvSpPr>
            <a:spLocks noGrp="1"/>
          </p:cNvSpPr>
          <p:nvPr>
            <p:ph type="body" sz="quarter" idx="35" hasCustomPrompt="1"/>
          </p:nvPr>
        </p:nvSpPr>
        <p:spPr>
          <a:xfrm>
            <a:off x="2361454" y="6887485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30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8658992"/>
            <a:ext cx="21026338" cy="3312369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31" name="Текст 3"/>
          <p:cNvSpPr>
            <a:spLocks noGrp="1"/>
          </p:cNvSpPr>
          <p:nvPr>
            <p:ph type="body" sz="quarter" idx="42" hasCustomPrompt="1"/>
          </p:nvPr>
        </p:nvSpPr>
        <p:spPr>
          <a:xfrm>
            <a:off x="6406917" y="6887485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32" name="Текст 3"/>
          <p:cNvSpPr>
            <a:spLocks noGrp="1"/>
          </p:cNvSpPr>
          <p:nvPr>
            <p:ph type="body" sz="quarter" idx="43" hasCustomPrompt="1"/>
          </p:nvPr>
        </p:nvSpPr>
        <p:spPr>
          <a:xfrm>
            <a:off x="10452380" y="6887485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33" name="Текст 3"/>
          <p:cNvSpPr>
            <a:spLocks noGrp="1"/>
          </p:cNvSpPr>
          <p:nvPr>
            <p:ph type="body" sz="quarter" idx="44" hasCustomPrompt="1"/>
          </p:nvPr>
        </p:nvSpPr>
        <p:spPr>
          <a:xfrm>
            <a:off x="14497843" y="6887485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34" name="Текст 3"/>
          <p:cNvSpPr>
            <a:spLocks noGrp="1"/>
          </p:cNvSpPr>
          <p:nvPr>
            <p:ph type="body" sz="quarter" idx="45" hasCustomPrompt="1"/>
          </p:nvPr>
        </p:nvSpPr>
        <p:spPr>
          <a:xfrm>
            <a:off x="19106355" y="6887484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5" name="Нижний колонтитул 4">
            <a:extLst>
              <a:ext uri="{FF2B5EF4-FFF2-40B4-BE49-F238E27FC236}">
                <a16:creationId xmlns:a16="http://schemas.microsoft.com/office/drawing/2014/main" xmlns="" id="{0DE51304-8CF6-0244-A3C1-67AD61375B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6" name="Номер слайда 5">
            <a:extLst>
              <a:ext uri="{FF2B5EF4-FFF2-40B4-BE49-F238E27FC236}">
                <a16:creationId xmlns:a16="http://schemas.microsoft.com/office/drawing/2014/main" xmlns="" id="{1B07DA56-5E57-F248-8AE2-0D4CC20BC3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F9166176-9B5F-F342-BD73-BC293C3A84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51A58F60-3575-3749-83CD-34D5E3A601C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1BEEAA3F-1510-3C45-A55E-3C40663EDE0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19634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Рисунок 21"/>
          <p:cNvSpPr>
            <a:spLocks noGrp="1"/>
          </p:cNvSpPr>
          <p:nvPr>
            <p:ph type="pic" sz="quarter" idx="34"/>
          </p:nvPr>
        </p:nvSpPr>
        <p:spPr>
          <a:xfrm>
            <a:off x="-210182" y="861"/>
            <a:ext cx="6301420" cy="13716727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782495" y="4580753"/>
            <a:ext cx="15212293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48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7782495" y="3258394"/>
            <a:ext cx="15212293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marR="0" lvl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УМНЫЙ ГОРОД</a:t>
            </a:r>
            <a:endParaRPr lang="en-US" dirty="0"/>
          </a:p>
          <a:p>
            <a:pPr marL="0" lvl="0" indent="0">
              <a:lnSpc>
                <a:spcPct val="150000"/>
              </a:lnSpc>
              <a:buNone/>
            </a:pPr>
            <a:endParaRPr lang="en-US" dirty="0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xmlns="" id="{0AB30050-E9C8-2443-9051-2C7243C6A7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bg2"/>
                </a:solidFill>
                <a:latin typeface="Cera Pro" pitchFamily="2" charset="0"/>
              </a:defRPr>
            </a:lvl1pPr>
          </a:lstStyle>
          <a:p>
            <a:r>
              <a:rPr lang="ru-RU"/>
              <a:t>© УМНЫЙ ГОРОД</a:t>
            </a:r>
            <a:endParaRPr lang="ru-RU" dirty="0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xmlns="" id="{483051C4-B9DB-B141-A41F-E578F9E671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C5F7392D-ADDE-0F48-B5BA-2798B272C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8BC450F9-F177-4E4C-8633-A483441E41D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DCC69AC7-476F-D543-9543-5C94D5EE566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5709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Рисунок 21"/>
          <p:cNvSpPr>
            <a:spLocks noGrp="1"/>
          </p:cNvSpPr>
          <p:nvPr>
            <p:ph type="pic" sz="quarter" idx="34"/>
          </p:nvPr>
        </p:nvSpPr>
        <p:spPr>
          <a:xfrm>
            <a:off x="18314267" y="18034"/>
            <a:ext cx="6082449" cy="13716727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1" y="4580753"/>
            <a:ext cx="14545616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1" y="3258394"/>
            <a:ext cx="14545616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xmlns="" id="{E60432D0-B3ED-794C-AA7E-32FC231D1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xmlns="" id="{69C7E5D3-66AC-6442-86DC-5915D1DA25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bg2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C29924A9-44C6-C841-A42C-81FECE5CCB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 flipH="1">
            <a:off x="0" y="-13826"/>
            <a:ext cx="8438420" cy="151130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91D074CE-A6FA-F04B-B589-75DEF808DC1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4316771" y="137194"/>
            <a:ext cx="2518338" cy="1348804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85F2DDF7-34A1-864F-ACC8-020550F4AE4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680419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09749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6130631" cy="137175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032348" y="3690443"/>
            <a:ext cx="4320479" cy="8568952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bg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032348" y="954138"/>
            <a:ext cx="21962439" cy="201622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012B39AA-1B56-3B4E-B99E-E34A24A477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solidFill>
                  <a:schemeClr val="bg2"/>
                </a:solidFill>
                <a:latin typeface="Cera Pro" pitchFamily="2" charset="0"/>
              </a:defRPr>
            </a:lvl1pPr>
          </a:lstStyle>
          <a:p>
            <a:r>
              <a:rPr lang="ru-RU"/>
              <a:t>© УМНЫЙ ГОРОД</a:t>
            </a:r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77E5EA03-07B4-9249-90E8-C8DF1288BF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1027370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20618522" y="12403410"/>
            <a:ext cx="2376265" cy="883706"/>
          </a:xfrm>
          <a:prstGeom prst="rect">
            <a:avLst/>
          </a:prstGeom>
        </p:spPr>
        <p:txBody>
          <a:bodyPr/>
          <a:lstStyle>
            <a:lvl1pPr algn="r">
              <a:defRPr lang="ru-RU" sz="5400" b="0" i="0" kern="1200" baseline="0" smtClean="0">
                <a:solidFill>
                  <a:schemeClr val="tx2">
                    <a:lumMod val="10000"/>
                    <a:lumOff val="90000"/>
                  </a:schemeClr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fld id="{E8BBD06A-759F-43F0-9FDD-30D8801384DF}" type="slidenum">
              <a:rPr lang="uk-UA" smtClean="0"/>
              <a:pPr/>
              <a:t>‹#›</a:t>
            </a:fld>
            <a:endParaRPr lang="uk-UA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8256544" y="0"/>
            <a:ext cx="6130631" cy="137175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8962339" y="3402410"/>
            <a:ext cx="4320479" cy="8568952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bg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1" y="954138"/>
            <a:ext cx="15049672" cy="201622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xmlns="" id="{D7355245-F3BD-DF4C-842F-1C573DC710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xmlns="" id="{5142151F-8F01-314E-9598-33ED96C4A6E5}"/>
              </a:ext>
            </a:extLst>
          </p:cNvPr>
          <p:cNvSpPr txBox="1">
            <a:spLocks/>
          </p:cNvSpPr>
          <p:nvPr userDrawn="1"/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2438522" rtl="0" eaLnBrk="1" latinLnBrk="0" hangingPunct="1">
              <a:defRPr sz="2400" b="0" i="0" kern="1200">
                <a:solidFill>
                  <a:schemeClr val="accent1"/>
                </a:solidFill>
                <a:latin typeface="Cera Pro Medium" pitchFamily="2" charset="0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A50DC19-1C8B-8840-B7C7-2611461957E9}" type="slidenum">
              <a:rPr lang="ru-RU" smtClean="0">
                <a:solidFill>
                  <a:schemeClr val="bg2"/>
                </a:solidFill>
              </a:rPr>
              <a:pPr/>
              <a:t>‹#›</a:t>
            </a:fld>
            <a:endParaRPr lang="ru-RU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9718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>
            <a:extLst>
              <a:ext uri="{FF2B5EF4-FFF2-40B4-BE49-F238E27FC236}">
                <a16:creationId xmlns:a16="http://schemas.microsoft.com/office/drawing/2014/main" xmlns="" id="{63598BC9-5BA6-F04E-AC85-81D102B175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9" name="Объект 8" hidden="1">
                        <a:extLst>
                          <a:ext uri="{FF2B5EF4-FFF2-40B4-BE49-F238E27FC236}">
                            <a16:creationId xmlns:a16="http://schemas.microsoft.com/office/drawing/2014/main" xmlns="" id="{63598BC9-5BA6-F04E-AC85-81D102B175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F1ACA1C4-C929-2E48-AFC5-D2D3536CCB45}"/>
              </a:ext>
            </a:extLst>
          </p:cNvPr>
          <p:cNvSpPr/>
          <p:nvPr userDrawn="1"/>
        </p:nvSpPr>
        <p:spPr>
          <a:xfrm>
            <a:off x="0" y="0"/>
            <a:ext cx="24387175" cy="1002714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xmlns="" id="{18348EFD-562D-E448-87FF-E79DFB070B77}"/>
              </a:ext>
            </a:extLst>
          </p:cNvPr>
          <p:cNvCxnSpPr>
            <a:cxnSpLocks/>
          </p:cNvCxnSpPr>
          <p:nvPr userDrawn="1"/>
        </p:nvCxnSpPr>
        <p:spPr>
          <a:xfrm>
            <a:off x="1969046" y="11611322"/>
            <a:ext cx="2131377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Текст 3">
            <a:extLst>
              <a:ext uri="{FF2B5EF4-FFF2-40B4-BE49-F238E27FC236}">
                <a16:creationId xmlns:a16="http://schemas.microsoft.com/office/drawing/2014/main" xmlns="" id="{C160A1A6-74B4-564C-A15D-5FC7671F777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896443" y="11817609"/>
            <a:ext cx="16345221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нлайн-заседание комитета по экологии и охране окружающей среды Ассоциации менеджеров</a:t>
            </a:r>
          </a:p>
        </p:txBody>
      </p:sp>
      <p:sp>
        <p:nvSpPr>
          <p:cNvPr id="28" name="Текст 3">
            <a:extLst>
              <a:ext uri="{FF2B5EF4-FFF2-40B4-BE49-F238E27FC236}">
                <a16:creationId xmlns:a16="http://schemas.microsoft.com/office/drawing/2014/main" xmlns="" id="{D6E50203-92EA-BF47-8082-98A9BCBA2E7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1050571" y="11817609"/>
            <a:ext cx="2220293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28 сентября 2020 </a:t>
            </a: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xmlns="" id="{7124A3CC-D9CD-594A-BA56-C4F140763C8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2602864" y="614690"/>
            <a:ext cx="11277600" cy="1752600"/>
          </a:xfrm>
          <a:prstGeom prst="rect">
            <a:avLst/>
          </a:prstGeom>
        </p:spPr>
      </p:pic>
      <p:sp>
        <p:nvSpPr>
          <p:cNvPr id="13" name="Текст 3">
            <a:extLst>
              <a:ext uri="{FF2B5EF4-FFF2-40B4-BE49-F238E27FC236}">
                <a16:creationId xmlns:a16="http://schemas.microsoft.com/office/drawing/2014/main" xmlns="" id="{C08A4757-9CBC-9040-86E6-2589750F266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599220" y="4895604"/>
            <a:ext cx="17979743" cy="1752601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8000" b="0" i="0" kern="1200" baseline="0" dirty="0">
                <a:solidFill>
                  <a:schemeClr val="bg2"/>
                </a:solidFill>
                <a:effectLst/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#</a:t>
            </a:r>
            <a:r>
              <a:rPr lang="ru-RU" dirty="0" err="1"/>
              <a:t>УмныйГород</a:t>
            </a:r>
            <a:endParaRPr lang="en-US" dirty="0"/>
          </a:p>
        </p:txBody>
      </p:sp>
      <p:sp>
        <p:nvSpPr>
          <p:cNvPr id="14" name="Текст 3">
            <a:extLst>
              <a:ext uri="{FF2B5EF4-FFF2-40B4-BE49-F238E27FC236}">
                <a16:creationId xmlns:a16="http://schemas.microsoft.com/office/drawing/2014/main" xmlns="" id="{801A3196-AA76-CF41-B7CE-E51BF4ECEC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969046" y="820976"/>
            <a:ext cx="16345221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800" b="0" i="0" kern="1200" baseline="0" dirty="0">
                <a:solidFill>
                  <a:schemeClr val="bg2">
                    <a:alpha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НАЗВАНИЕ КОНФЕРЕНЦИ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4994DA73-35FD-2541-8C3C-EF69E077116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0419" y="5290344"/>
            <a:ext cx="3600400" cy="3600400"/>
          </a:xfrm>
          <a:prstGeom prst="rect">
            <a:avLst/>
          </a:prstGeom>
        </p:spPr>
      </p:pic>
      <p:sp>
        <p:nvSpPr>
          <p:cNvPr id="16" name="Текст 3">
            <a:extLst>
              <a:ext uri="{FF2B5EF4-FFF2-40B4-BE49-F238E27FC236}">
                <a16:creationId xmlns:a16="http://schemas.microsoft.com/office/drawing/2014/main" xmlns="" id="{DC8D14F7-161C-D640-8F31-E13459D4C0A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599220" y="6042297"/>
            <a:ext cx="17979743" cy="1752601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8000" b="0" i="0" kern="1200" baseline="0" dirty="0">
                <a:solidFill>
                  <a:schemeClr val="bg2"/>
                </a:solidFill>
                <a:effectLst/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#</a:t>
            </a:r>
            <a:r>
              <a:rPr lang="ru-RU" dirty="0" err="1"/>
              <a:t>ГородаМеняютсяДляНас</a:t>
            </a:r>
            <a:endParaRPr lang="en-US" dirty="0"/>
          </a:p>
        </p:txBody>
      </p:sp>
      <p:sp>
        <p:nvSpPr>
          <p:cNvPr id="17" name="Текст 3">
            <a:extLst>
              <a:ext uri="{FF2B5EF4-FFF2-40B4-BE49-F238E27FC236}">
                <a16:creationId xmlns:a16="http://schemas.microsoft.com/office/drawing/2014/main" xmlns="" id="{6A07486F-83F4-C047-B670-1C43E89C26C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99220" y="7837060"/>
            <a:ext cx="17979743" cy="893942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4400" b="0" i="0" kern="1200" baseline="0" dirty="0">
                <a:solidFill>
                  <a:schemeClr val="bg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" dirty="0" err="1"/>
              <a:t>smart@gorodsreda.r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3206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21"/>
          <p:cNvSpPr>
            <a:spLocks noGrp="1"/>
          </p:cNvSpPr>
          <p:nvPr>
            <p:ph type="pic" sz="quarter" idx="32"/>
          </p:nvPr>
        </p:nvSpPr>
        <p:spPr>
          <a:xfrm>
            <a:off x="-2" y="0"/>
            <a:ext cx="24387176" cy="13717588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367322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xmlns="" id="{9CAC38B1-2131-3240-9C32-617E46EABA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991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2193587" y="4322209"/>
            <a:ext cx="10786378" cy="4537076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9046" y="4554537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9046" y="3618434"/>
            <a:ext cx="73448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4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C73CF705-B595-794E-84E6-E5B9DFAA6F7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47250" y="-4330"/>
            <a:ext cx="3299665" cy="2110596"/>
          </a:xfrm>
          <a:prstGeom prst="rect">
            <a:avLst/>
          </a:prstGeom>
        </p:spPr>
      </p:pic>
      <p:sp>
        <p:nvSpPr>
          <p:cNvPr id="14" name="Нижний колонтитул 4">
            <a:extLst>
              <a:ext uri="{FF2B5EF4-FFF2-40B4-BE49-F238E27FC236}">
                <a16:creationId xmlns:a16="http://schemas.microsoft.com/office/drawing/2014/main" xmlns="" id="{F282C289-F9C4-2145-AA14-81E519F178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xmlns="" id="{E6D33C86-3FEE-314B-9F14-845B4C1857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499E3656-D244-604A-87ED-6B09A155D7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A12F4B9E-D8F2-6B42-88C9-58FDFE5E2E8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7E19731F-731B-8545-9D8B-6D6082DFD41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19908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491" userDrawn="1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+logo_minstr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3">
            <a:extLst>
              <a:ext uri="{FF2B5EF4-FFF2-40B4-BE49-F238E27FC236}">
                <a16:creationId xmlns:a16="http://schemas.microsoft.com/office/drawing/2014/main" xmlns="" id="{2F85771C-6610-7642-8A34-904E36F098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193587" y="4322209"/>
            <a:ext cx="10786378" cy="4537076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xmlns="" id="{0FBD2A61-56E0-4640-B3EA-584D77BDC4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9046" y="4554537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10" name="Текст 3">
            <a:extLst>
              <a:ext uri="{FF2B5EF4-FFF2-40B4-BE49-F238E27FC236}">
                <a16:creationId xmlns:a16="http://schemas.microsoft.com/office/drawing/2014/main" xmlns="" id="{47782C2E-B0C9-3F41-91E5-0EF892965F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69046" y="3618434"/>
            <a:ext cx="73448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4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12" name="Нижний колонтитул 4">
            <a:extLst>
              <a:ext uri="{FF2B5EF4-FFF2-40B4-BE49-F238E27FC236}">
                <a16:creationId xmlns:a16="http://schemas.microsoft.com/office/drawing/2014/main" xmlns="" id="{866B1709-B1B4-C944-916F-CE1D4A73E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3" name="Номер слайда 5">
            <a:extLst>
              <a:ext uri="{FF2B5EF4-FFF2-40B4-BE49-F238E27FC236}">
                <a16:creationId xmlns:a16="http://schemas.microsoft.com/office/drawing/2014/main" xmlns="" id="{74E74889-98AB-C84F-B61E-023E8D7478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80A3DD7D-0C76-254F-B152-377C51B6E2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20031"/>
          <a:stretch/>
        </p:blipFill>
        <p:spPr>
          <a:xfrm>
            <a:off x="12841659" y="-13826"/>
            <a:ext cx="11545516" cy="1511305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414111B5-4D7C-FF4D-A74B-353089C36ED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6DCFD7E5-1AB1-4744-8C6B-0E27CBE3954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14836996" y="81638"/>
            <a:ext cx="1787863" cy="1405385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0FE517CE-309B-FC48-910C-5646CD22B13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4473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+logo_minstroy+nacproek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3">
            <a:extLst>
              <a:ext uri="{FF2B5EF4-FFF2-40B4-BE49-F238E27FC236}">
                <a16:creationId xmlns:a16="http://schemas.microsoft.com/office/drawing/2014/main" xmlns="" id="{F43025CC-49F5-8C44-A6B6-9B23F2F333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193587" y="4322209"/>
            <a:ext cx="10786378" cy="4537076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xmlns="" id="{3139B42A-2AE2-4540-B621-D3C31408D3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69046" y="4554537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8" name="Текст 3">
            <a:extLst>
              <a:ext uri="{FF2B5EF4-FFF2-40B4-BE49-F238E27FC236}">
                <a16:creationId xmlns:a16="http://schemas.microsoft.com/office/drawing/2014/main" xmlns="" id="{0CDE2374-C36F-CE41-83D1-C0C784995A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969046" y="3618434"/>
            <a:ext cx="73448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4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7" name="Нижний колонтитул 4">
            <a:extLst>
              <a:ext uri="{FF2B5EF4-FFF2-40B4-BE49-F238E27FC236}">
                <a16:creationId xmlns:a16="http://schemas.microsoft.com/office/drawing/2014/main" xmlns="" id="{7342BC96-3FD7-7A47-813B-CF542FB7C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xmlns="" id="{817CBB9C-F793-AB42-85B4-5365943460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9CEF8202-6D1B-7842-8B2E-1DBA3BC438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629A40DE-46D4-C643-8CC5-FF4925C2B1D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EDFDD347-96BD-6845-AEEE-5914FD105E6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6845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1473507" y="3618434"/>
            <a:ext cx="10786378" cy="9725626"/>
          </a:xfrm>
          <a:prstGeom prst="rect">
            <a:avLst/>
          </a:prstGeom>
        </p:spPr>
        <p:txBody>
          <a:bodyPr numCol="2" spcCol="1080000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9046" y="4554537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9046" y="3618434"/>
            <a:ext cx="73448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xmlns="" id="{F8CFF375-2AE5-974F-9BCA-B2465E8C5A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xmlns="" id="{E3F8A9C4-E9D7-184C-9950-E6F25B84CE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3DCB962A-27EA-6C42-BA4C-45C4105F6F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B01769F2-A3B8-EC48-A4F2-2D2C96E5A2E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EDCE669B-0CE7-CD42-A587-8162859CDEE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79511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2196763" y="3402410"/>
            <a:ext cx="10785782" cy="3024336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3402410"/>
            <a:ext cx="9145017" cy="345638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ПОСТРОЕНИЯ СЛАЙДА</a:t>
            </a:r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2483077"/>
            <a:ext cx="91450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7" name="Нижний колонтитул 4">
            <a:extLst>
              <a:ext uri="{FF2B5EF4-FFF2-40B4-BE49-F238E27FC236}">
                <a16:creationId xmlns:a16="http://schemas.microsoft.com/office/drawing/2014/main" xmlns="" id="{DCD2866C-9A7A-2B40-8523-F4F4BE70B2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xmlns="" id="{FEDBDFE2-431F-D747-8BA8-4CAAFF5498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3D88C9A7-8500-FC42-9228-78E616DB45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98980BB0-FAE8-C042-B820-5ACA6D0CF6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6CC5C856-672B-324B-9209-8FAC2969D31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31432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1968450" y="4554538"/>
            <a:ext cx="21014095" cy="7418400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68450" y="1530202"/>
            <a:ext cx="16489833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1968450" y="610869"/>
            <a:ext cx="10513169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УМНЫЙ ГОРОД</a:t>
            </a:r>
            <a:endParaRPr lang="en-US" dirty="0"/>
          </a:p>
        </p:txBody>
      </p:sp>
      <p:sp>
        <p:nvSpPr>
          <p:cNvPr id="7" name="Нижний колонтитул 4">
            <a:extLst>
              <a:ext uri="{FF2B5EF4-FFF2-40B4-BE49-F238E27FC236}">
                <a16:creationId xmlns:a16="http://schemas.microsoft.com/office/drawing/2014/main" xmlns="" id="{018C7B33-DD58-BB4B-AD69-25B02830C4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9046" y="12763450"/>
            <a:ext cx="7167736" cy="720080"/>
          </a:xfrm>
          <a:prstGeom prst="rect">
            <a:avLst/>
          </a:prstGeom>
        </p:spPr>
        <p:txBody>
          <a:bodyPr/>
          <a:lstStyle>
            <a:lvl1pPr>
              <a:defRPr sz="2000" b="0" i="0">
                <a:latin typeface="Cera Pro" pitchFamily="2" charset="0"/>
              </a:defRPr>
            </a:lvl1pPr>
          </a:lstStyle>
          <a:p>
            <a:r>
              <a:rPr lang="ru-RU" dirty="0"/>
              <a:t>© УМНЫЙ ГОРОД</a:t>
            </a:r>
          </a:p>
        </p:txBody>
      </p:sp>
      <p:sp>
        <p:nvSpPr>
          <p:cNvPr id="8" name="Номер слайда 5">
            <a:extLst>
              <a:ext uri="{FF2B5EF4-FFF2-40B4-BE49-F238E27FC236}">
                <a16:creationId xmlns:a16="http://schemas.microsoft.com/office/drawing/2014/main" xmlns="" id="{B27377C2-C2D2-BB48-AF28-11D79049F8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791941" y="12763450"/>
            <a:ext cx="5188024" cy="720080"/>
          </a:xfrm>
          <a:prstGeom prst="rect">
            <a:avLst/>
          </a:prstGeom>
        </p:spPr>
        <p:txBody>
          <a:bodyPr/>
          <a:lstStyle>
            <a:lvl1pPr algn="r">
              <a:defRPr sz="2400" b="0" i="0">
                <a:solidFill>
                  <a:schemeClr val="accent1"/>
                </a:solidFill>
                <a:latin typeface="Cera Pro Medium" pitchFamily="2" charset="0"/>
              </a:defRPr>
            </a:lvl1pPr>
          </a:lstStyle>
          <a:p>
            <a:fld id="{6A50DC19-1C8B-8840-B7C7-2611461957E9}" type="slidenum">
              <a:rPr lang="ru-RU" smtClean="0"/>
              <a:pPr/>
              <a:t>‹#›</a:t>
            </a:fld>
            <a:endParaRPr lang="ru-RU" sz="2400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xmlns="" id="{85FBBB57-A185-D14A-AF37-5F36766B58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47250" y="-4330"/>
            <a:ext cx="3299665" cy="2110596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E75E7C6F-6271-DE43-82DE-E3625590A4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r="41552"/>
          <a:stretch/>
        </p:blipFill>
        <p:spPr>
          <a:xfrm>
            <a:off x="15948755" y="-13826"/>
            <a:ext cx="8438420" cy="151130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77033094-E677-F645-A46C-3DA909CDB4B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7743061" y="137194"/>
            <a:ext cx="2518338" cy="134880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C95AF7FA-8E14-DB41-9396-C2B4DFBE9B6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21379602" y="75362"/>
            <a:ext cx="1787863" cy="1405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80545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 userDrawn="1">
          <p15:clr>
            <a:srgbClr val="FBAE40"/>
          </p15:clr>
        </p15:guide>
        <p15:guide id="6" orient="horz" pos="572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xmlns="" id="{E6032E2C-C6FD-A249-8FE5-E4FF1AA475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843669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Слайд think-cell" r:id="rId31" imgW="7772400" imgH="10058400" progId="TCLayout.ActiveDocument.1">
                  <p:embed/>
                </p:oleObj>
              </mc:Choice>
              <mc:Fallback>
                <p:oleObj name="Слайд think-cell" r:id="rId31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90804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0" r:id="rId1"/>
    <p:sldLayoutId id="2147485259" r:id="rId2"/>
    <p:sldLayoutId id="2147485202" r:id="rId3"/>
    <p:sldLayoutId id="2147485220" r:id="rId4"/>
    <p:sldLayoutId id="2147485257" r:id="rId5"/>
    <p:sldLayoutId id="2147485258" r:id="rId6"/>
    <p:sldLayoutId id="2147485227" r:id="rId7"/>
    <p:sldLayoutId id="2147485230" r:id="rId8"/>
    <p:sldLayoutId id="2147485218" r:id="rId9"/>
    <p:sldLayoutId id="2147485248" r:id="rId10"/>
    <p:sldLayoutId id="2147485247" r:id="rId11"/>
    <p:sldLayoutId id="2147485226" r:id="rId12"/>
    <p:sldLayoutId id="2147485255" r:id="rId13"/>
    <p:sldLayoutId id="2147485256" r:id="rId14"/>
    <p:sldLayoutId id="2147485254" r:id="rId15"/>
    <p:sldLayoutId id="2147485221" r:id="rId16"/>
    <p:sldLayoutId id="2147485223" r:id="rId17"/>
    <p:sldLayoutId id="2147485224" r:id="rId18"/>
    <p:sldLayoutId id="2147485229" r:id="rId19"/>
    <p:sldLayoutId id="2147485237" r:id="rId20"/>
    <p:sldLayoutId id="2147485239" r:id="rId21"/>
    <p:sldLayoutId id="2147485235" r:id="rId22"/>
    <p:sldLayoutId id="2147485233" r:id="rId23"/>
    <p:sldLayoutId id="2147485242" r:id="rId24"/>
    <p:sldLayoutId id="2147485215" r:id="rId25"/>
    <p:sldLayoutId id="2147485249" r:id="rId26"/>
    <p:sldLayoutId id="2147485261" r:id="rId27"/>
  </p:sldLayoutIdLst>
  <p:hf hdr="0" dt="0"/>
  <p:txStyles>
    <p:titleStyle>
      <a:lvl1pPr algn="ctr" defTabSz="2438889" rtl="0" eaLnBrk="1" latinLnBrk="0" hangingPunct="1">
        <a:spcBef>
          <a:spcPct val="0"/>
        </a:spcBef>
        <a:buNone/>
        <a:defRPr sz="1170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14583" indent="-914583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8502" kern="1200">
          <a:solidFill>
            <a:schemeClr val="tx1"/>
          </a:solidFill>
          <a:latin typeface="+mn-lt"/>
          <a:ea typeface="+mn-ea"/>
          <a:cs typeface="+mn-cs"/>
        </a:defRPr>
      </a:lvl1pPr>
      <a:lvl2pPr marL="1981596" indent="-762153" algn="l" defTabSz="2438889" rtl="0" eaLnBrk="1" latinLnBrk="0" hangingPunct="1">
        <a:spcBef>
          <a:spcPct val="20000"/>
        </a:spcBef>
        <a:buFont typeface="Arial" panose="020B0604020202020204" pitchFamily="34" charset="0"/>
        <a:buChar char="–"/>
        <a:defRPr sz="7502" kern="1200">
          <a:solidFill>
            <a:schemeClr val="tx1"/>
          </a:solidFill>
          <a:latin typeface="+mn-lt"/>
          <a:ea typeface="+mn-ea"/>
          <a:cs typeface="+mn-cs"/>
        </a:defRPr>
      </a:lvl2pPr>
      <a:lvl3pPr marL="3048610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6402" kern="1200">
          <a:solidFill>
            <a:schemeClr val="tx1"/>
          </a:solidFill>
          <a:latin typeface="+mn-lt"/>
          <a:ea typeface="+mn-ea"/>
          <a:cs typeface="+mn-cs"/>
        </a:defRPr>
      </a:lvl3pPr>
      <a:lvl4pPr marL="4268053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–"/>
        <a:defRPr sz="5302" kern="1200">
          <a:solidFill>
            <a:schemeClr val="tx1"/>
          </a:solidFill>
          <a:latin typeface="+mn-lt"/>
          <a:ea typeface="+mn-ea"/>
          <a:cs typeface="+mn-cs"/>
        </a:defRPr>
      </a:lvl4pPr>
      <a:lvl5pPr marL="5487497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»"/>
        <a:defRPr sz="5302" kern="1200">
          <a:solidFill>
            <a:schemeClr val="tx1"/>
          </a:solidFill>
          <a:latin typeface="+mn-lt"/>
          <a:ea typeface="+mn-ea"/>
          <a:cs typeface="+mn-cs"/>
        </a:defRPr>
      </a:lvl5pPr>
      <a:lvl6pPr marL="6706942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2" kern="1200">
          <a:solidFill>
            <a:schemeClr val="tx1"/>
          </a:solidFill>
          <a:latin typeface="+mn-lt"/>
          <a:ea typeface="+mn-ea"/>
          <a:cs typeface="+mn-cs"/>
        </a:defRPr>
      </a:lvl6pPr>
      <a:lvl7pPr marL="7926386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2" kern="1200">
          <a:solidFill>
            <a:schemeClr val="tx1"/>
          </a:solidFill>
          <a:latin typeface="+mn-lt"/>
          <a:ea typeface="+mn-ea"/>
          <a:cs typeface="+mn-cs"/>
        </a:defRPr>
      </a:lvl7pPr>
      <a:lvl8pPr marL="9145827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2" kern="1200">
          <a:solidFill>
            <a:schemeClr val="tx1"/>
          </a:solidFill>
          <a:latin typeface="+mn-lt"/>
          <a:ea typeface="+mn-ea"/>
          <a:cs typeface="+mn-cs"/>
        </a:defRPr>
      </a:lvl8pPr>
      <a:lvl9pPr marL="10365272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1pPr>
      <a:lvl2pPr marL="1219444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438889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3pPr>
      <a:lvl4pPr marL="3658332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4pPr>
      <a:lvl5pPr marL="4877776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5pPr>
      <a:lvl6pPr marL="6097220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6pPr>
      <a:lvl7pPr marL="7316664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7pPr>
      <a:lvl8pPr marL="8536107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8pPr>
      <a:lvl9pPr marL="9755549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jpeg"/><Relationship Id="rId5" Type="http://schemas.openxmlformats.org/officeDocument/2006/relationships/image" Target="../media/image15.pn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jpeg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jpeg"/><Relationship Id="rId5" Type="http://schemas.openxmlformats.org/officeDocument/2006/relationships/image" Target="../media/image15.png"/><Relationship Id="rId4" Type="http://schemas.openxmlformats.org/officeDocument/2006/relationships/image" Target="../media/image2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jpeg"/><Relationship Id="rId5" Type="http://schemas.openxmlformats.org/officeDocument/2006/relationships/image" Target="../media/image15.pn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jpeg"/><Relationship Id="rId5" Type="http://schemas.openxmlformats.org/officeDocument/2006/relationships/image" Target="../media/image15.png"/><Relationship Id="rId4" Type="http://schemas.openxmlformats.org/officeDocument/2006/relationships/image" Target="../media/image19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jpeg"/><Relationship Id="rId5" Type="http://schemas.openxmlformats.org/officeDocument/2006/relationships/image" Target="../media/image15.png"/><Relationship Id="rId4" Type="http://schemas.openxmlformats.org/officeDocument/2006/relationships/image" Target="../media/image18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7.jpe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jpeg"/><Relationship Id="rId5" Type="http://schemas.openxmlformats.org/officeDocument/2006/relationships/image" Target="../media/image15.png"/><Relationship Id="rId4" Type="http://schemas.openxmlformats.org/officeDocument/2006/relationships/image" Target="../media/image20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3.png"/><Relationship Id="rId7" Type="http://schemas.openxmlformats.org/officeDocument/2006/relationships/image" Target="../media/image24.jpe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Relationship Id="rId9" Type="http://schemas.openxmlformats.org/officeDocument/2006/relationships/image" Target="../media/image1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jpeg"/><Relationship Id="rId5" Type="http://schemas.openxmlformats.org/officeDocument/2006/relationships/image" Target="../media/image15.png"/><Relationship Id="rId4" Type="http://schemas.openxmlformats.org/officeDocument/2006/relationships/image" Target="../media/image2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1492" name="Picture 4" descr="C:\Users\111\Desktop\Умные города\Преза\титул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24387176" cy="13753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647456" y="734730"/>
            <a:ext cx="9889947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0" b="1" dirty="0">
                <a:solidFill>
                  <a:schemeClr val="bg1"/>
                </a:solidFill>
              </a:rPr>
              <a:t>СИЛОВОЙ ЭКСТРИМ</a:t>
            </a:r>
          </a:p>
        </p:txBody>
      </p:sp>
    </p:spTree>
    <p:extLst>
      <p:ext uri="{BB962C8B-B14F-4D97-AF65-F5344CB8AC3E}">
        <p14:creationId xmlns:p14="http://schemas.microsoft.com/office/powerpoint/2010/main" val="1049244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6555" y="378074"/>
            <a:ext cx="2175495" cy="3310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12220541" y="1674218"/>
            <a:ext cx="9592319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800" dirty="0">
                <a:solidFill>
                  <a:srgbClr val="0070C0"/>
                </a:solidFill>
              </a:rPr>
              <a:t>Медицинское обслуживание</a:t>
            </a:r>
            <a:endParaRPr lang="ru-RU" sz="7200" dirty="0">
              <a:solidFill>
                <a:srgbClr val="0070C0"/>
              </a:solidFill>
            </a:endParaRPr>
          </a:p>
        </p:txBody>
      </p:sp>
      <p:pic>
        <p:nvPicPr>
          <p:cNvPr id="19763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0419" y="2826346"/>
            <a:ext cx="10873208" cy="9173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12841659" y="4787751"/>
            <a:ext cx="10801201" cy="7478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6600" dirty="0"/>
          </a:p>
          <a:p>
            <a:pPr algn="ctr"/>
            <a:r>
              <a:rPr lang="ru-RU" sz="6600" b="1" dirty="0"/>
              <a:t>3 сентября 09.00-14.00</a:t>
            </a:r>
          </a:p>
          <a:p>
            <a:pPr algn="ctr"/>
            <a:r>
              <a:rPr lang="ru-RU" sz="5000" b="1" dirty="0"/>
              <a:t>Народный фитнес-парк </a:t>
            </a:r>
          </a:p>
          <a:p>
            <a:pPr algn="ctr"/>
            <a:r>
              <a:rPr lang="ru-RU" sz="5000" b="1" dirty="0"/>
              <a:t>ФОК «Юбилейный»</a:t>
            </a:r>
          </a:p>
          <a:p>
            <a:pPr algn="ctr"/>
            <a:endParaRPr lang="ru-RU" sz="5000" b="1" dirty="0"/>
          </a:p>
          <a:p>
            <a:r>
              <a:rPr lang="ru-RU" sz="6600" dirty="0"/>
              <a:t>-1 бригада скорой помощи</a:t>
            </a:r>
          </a:p>
          <a:p>
            <a:r>
              <a:rPr lang="ru-RU" sz="6600" dirty="0"/>
              <a:t>-2 врача ОВФД</a:t>
            </a:r>
          </a:p>
          <a:p>
            <a:pPr algn="ctr"/>
            <a:r>
              <a:rPr lang="ru-RU" sz="6600" dirty="0"/>
              <a:t> </a:t>
            </a:r>
            <a:endParaRPr lang="ru-RU" sz="5400" dirty="0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xmlns="" id="{AE141DC9-0F0F-76DC-9137-CC974873BF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6555" y="632995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299" y="632995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90077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2396" y="339616"/>
            <a:ext cx="2175495" cy="3310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176363" y="1834413"/>
            <a:ext cx="170658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F0"/>
                </a:solidFill>
              </a:rPr>
              <a:t>ТРАНСПОРТНОЕ ОБСЛУЖИВАНИЕ</a:t>
            </a:r>
          </a:p>
        </p:txBody>
      </p:sp>
      <p:pic>
        <p:nvPicPr>
          <p:cNvPr id="19865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8531" y="2614332"/>
            <a:ext cx="4464496" cy="108385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7333245" y="2665410"/>
            <a:ext cx="13355561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700" b="1" dirty="0"/>
              <a:t>2 автобуса. </a:t>
            </a:r>
            <a:r>
              <a:rPr lang="ru-RU" sz="3700" dirty="0"/>
              <a:t>Встреча участников от железнодорожного вокзала </a:t>
            </a:r>
            <a:r>
              <a:rPr lang="ru-RU" sz="3700" dirty="0" err="1"/>
              <a:t>г.Саратова</a:t>
            </a:r>
            <a:r>
              <a:rPr lang="ru-RU" sz="3700" dirty="0"/>
              <a:t> и аэропорта </a:t>
            </a:r>
            <a:r>
              <a:rPr lang="ru-RU" sz="3700" dirty="0" err="1"/>
              <a:t>им.Гагарина</a:t>
            </a:r>
            <a:r>
              <a:rPr lang="ru-RU" sz="3700" dirty="0"/>
              <a:t> Ю.А.  к месту проживания гостиница «Словакия» улица Лермонтова, 30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199451" y="5122408"/>
            <a:ext cx="15757530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700" b="1" dirty="0"/>
              <a:t>Транспорт не требуется. </a:t>
            </a:r>
            <a:r>
              <a:rPr lang="ru-RU" sz="3700" dirty="0"/>
              <a:t>Пешая доступность.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333245" y="6938290"/>
            <a:ext cx="13355561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700" b="1" dirty="0"/>
              <a:t>1 автобус. </a:t>
            </a:r>
            <a:r>
              <a:rPr lang="ru-RU" sz="3700" dirty="0"/>
              <a:t>Доставка участников от места проживания Гостиница «Словакия» улица Лермонтова, 30 до места соревнований  улица Братьев Никитиных, 10/1 Народный фитнес-парк на территории ФОК «Юбилейный» и обратно</a:t>
            </a:r>
          </a:p>
          <a:p>
            <a:endParaRPr lang="ru-RU" sz="4400" dirty="0"/>
          </a:p>
        </p:txBody>
      </p:sp>
      <p:sp>
        <p:nvSpPr>
          <p:cNvPr id="17" name="TextBox 16"/>
          <p:cNvSpPr txBox="1"/>
          <p:nvPr/>
        </p:nvSpPr>
        <p:spPr>
          <a:xfrm>
            <a:off x="7199451" y="9246614"/>
            <a:ext cx="15085478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700" b="1" dirty="0"/>
              <a:t>1 автобус. </a:t>
            </a:r>
            <a:r>
              <a:rPr lang="ru-RU" sz="3700" dirty="0"/>
              <a:t>Доставка участников от места проживания Гостиница «Словакия» Лермонтова, 30  до места торжественного закрытия соревнований и обратно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7333244" y="11237199"/>
            <a:ext cx="13069255" cy="1738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700" b="1" dirty="0"/>
              <a:t>2 автобуса  </a:t>
            </a:r>
            <a:r>
              <a:rPr lang="ru-RU" sz="3500" dirty="0"/>
              <a:t>Доставка участников от места проживания Гостиница «Словакия» Лермонтова, 30  до железнодорожного вокзала </a:t>
            </a:r>
            <a:r>
              <a:rPr lang="ru-RU" sz="3500" dirty="0" err="1"/>
              <a:t>г.Саратова</a:t>
            </a:r>
            <a:r>
              <a:rPr lang="ru-RU" sz="3500" dirty="0"/>
              <a:t> и аэропорта </a:t>
            </a:r>
            <a:r>
              <a:rPr lang="ru-RU" sz="3500" dirty="0" err="1"/>
              <a:t>им.Гагарина</a:t>
            </a:r>
            <a:r>
              <a:rPr lang="ru-RU" sz="3500" dirty="0"/>
              <a:t> Ю.А</a:t>
            </a:r>
            <a:r>
              <a:rPr lang="ru-RU" sz="3500" b="1" dirty="0"/>
              <a:t>.</a:t>
            </a: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xmlns="" id="{9C8413CC-5DC3-11A3-FBA2-90C595497B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69024" y="447318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323" y="600512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091048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2396" y="339616"/>
            <a:ext cx="2175495" cy="3310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176362" y="1834413"/>
            <a:ext cx="197260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F0"/>
                </a:solidFill>
              </a:rPr>
              <a:t>ОТВЕТСТВЕННЫЕ ПО НАПРАВЛЕНИЯМ</a:t>
            </a:r>
            <a:endParaRPr lang="ru-RU" sz="4400" b="1" dirty="0">
              <a:solidFill>
                <a:srgbClr val="00B0F0"/>
              </a:solidFill>
            </a:endParaRPr>
          </a:p>
        </p:txBody>
      </p:sp>
      <p:pic>
        <p:nvPicPr>
          <p:cNvPr id="195591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371" y="4997595"/>
            <a:ext cx="8293629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371" y="6910093"/>
            <a:ext cx="8293629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4371" y="8805552"/>
            <a:ext cx="8293629" cy="1584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976563" y="4997595"/>
            <a:ext cx="612068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bg2"/>
                </a:solidFill>
              </a:rPr>
              <a:t>Проживание </a:t>
            </a:r>
          </a:p>
          <a:p>
            <a:pPr algn="ctr"/>
            <a:r>
              <a:rPr lang="ru-RU" b="1" dirty="0">
                <a:solidFill>
                  <a:schemeClr val="bg2"/>
                </a:solidFill>
              </a:rPr>
              <a:t>и питание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976563" y="9182141"/>
            <a:ext cx="61206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bg2"/>
                </a:solidFill>
              </a:rPr>
              <a:t>Транспорт 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0083647" y="6978906"/>
            <a:ext cx="12457384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/>
              <a:t>Новиков Владимир Евгеньевич-8  (927) 124 55 13</a:t>
            </a:r>
          </a:p>
          <a:p>
            <a:r>
              <a:rPr lang="ru-RU" sz="4400" b="1" dirty="0"/>
              <a:t>Захаров Николай Иванович-8 (937) 146 47 93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0091863" y="9135975"/>
            <a:ext cx="1298602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/>
              <a:t>Новиков Владимир Евгеньевич-8  (927) 124 55 13</a:t>
            </a:r>
          </a:p>
          <a:p>
            <a:r>
              <a:rPr lang="ru-RU" sz="4400" b="1" dirty="0"/>
              <a:t>Захаров Николай Иванович-8 (937) 146 47 93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1584371" y="10529543"/>
            <a:ext cx="16009816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1581832" y="6766077"/>
            <a:ext cx="16012355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10105355" y="4997595"/>
            <a:ext cx="1339348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/>
              <a:t>Новиков Владимир Евгеньевич-8  (927) 124 55 13</a:t>
            </a:r>
          </a:p>
          <a:p>
            <a:r>
              <a:rPr lang="ru-RU" sz="4400" b="1" dirty="0"/>
              <a:t>Захаров Николай Иванович-8 (937) 146 47 93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966114" y="7286682"/>
            <a:ext cx="61206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bg2"/>
                </a:solidFill>
              </a:rPr>
              <a:t>Встреча команд</a:t>
            </a: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xmlns="" id="{BED08CB5-D600-DDCE-18C2-F148E98F96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2395" y="456618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475" y="826301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69786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89546" y="9514823"/>
            <a:ext cx="9169252" cy="1909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6555" y="378074"/>
            <a:ext cx="2175495" cy="3310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1392387" y="2733932"/>
            <a:ext cx="9145016" cy="99411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0" b="1" dirty="0">
                <a:solidFill>
                  <a:srgbClr val="0070C0"/>
                </a:solidFill>
              </a:rPr>
              <a:t>ПРОГРАММА</a:t>
            </a:r>
          </a:p>
          <a:p>
            <a:pPr algn="ctr"/>
            <a:r>
              <a:rPr lang="ru-RU" sz="8000" b="1" dirty="0">
                <a:solidFill>
                  <a:srgbClr val="0070C0"/>
                </a:solidFill>
              </a:rPr>
              <a:t>соревнований по</a:t>
            </a:r>
          </a:p>
          <a:p>
            <a:pPr algn="ctr"/>
            <a:r>
              <a:rPr lang="ru-RU" sz="8000" b="1" dirty="0">
                <a:solidFill>
                  <a:srgbClr val="0070C0"/>
                </a:solidFill>
              </a:rPr>
              <a:t>силовому экстриму в рамках проведения</a:t>
            </a:r>
          </a:p>
          <a:p>
            <a:pPr algn="ctr"/>
            <a:r>
              <a:rPr lang="en-US" sz="8000" b="1" dirty="0">
                <a:solidFill>
                  <a:srgbClr val="0070C0"/>
                </a:solidFill>
              </a:rPr>
              <a:t>I </a:t>
            </a:r>
            <a:r>
              <a:rPr lang="ru-RU" sz="8000" b="1" dirty="0">
                <a:solidFill>
                  <a:srgbClr val="0070C0"/>
                </a:solidFill>
              </a:rPr>
              <a:t>Всероссийских</a:t>
            </a:r>
          </a:p>
          <a:p>
            <a:pPr algn="ctr"/>
            <a:r>
              <a:rPr lang="ru-RU" sz="8000" b="1" dirty="0">
                <a:solidFill>
                  <a:srgbClr val="0070C0"/>
                </a:solidFill>
              </a:rPr>
              <a:t>игр «Умный Город.</a:t>
            </a:r>
          </a:p>
          <a:p>
            <a:pPr algn="ctr"/>
            <a:r>
              <a:rPr lang="ru-RU" sz="8000" b="1" dirty="0">
                <a:solidFill>
                  <a:srgbClr val="0070C0"/>
                </a:solidFill>
              </a:rPr>
              <a:t>Живи спортом»</a:t>
            </a:r>
            <a:endParaRPr lang="ru-RU" sz="8000" dirty="0">
              <a:solidFill>
                <a:srgbClr val="0070C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513011" y="1098155"/>
            <a:ext cx="604867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400" b="1" dirty="0">
                <a:solidFill>
                  <a:srgbClr val="0070C0"/>
                </a:solidFill>
              </a:rPr>
              <a:t>СРОКИ ПРОВЕДЕНИЯ</a:t>
            </a:r>
          </a:p>
          <a:p>
            <a:r>
              <a:rPr lang="ru-RU" sz="4400" b="1" dirty="0"/>
              <a:t> 3.09.2022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2478194" y="3030744"/>
            <a:ext cx="79679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70C0"/>
                </a:solidFill>
              </a:rPr>
              <a:t>01 сентября - </a:t>
            </a:r>
            <a:r>
              <a:rPr lang="ru-RU" sz="4000" dirty="0"/>
              <a:t>день приезда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2391190" y="5334035"/>
            <a:ext cx="976819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70C0"/>
                </a:solidFill>
              </a:rPr>
              <a:t>03 сентября </a:t>
            </a:r>
            <a:r>
              <a:rPr lang="ru-RU" sz="4000" dirty="0"/>
              <a:t>–  комиссия по допуску с 09:00 до 10:00 ч. (ФОК «Юбилейный»)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2489653" y="7635510"/>
            <a:ext cx="1115320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70C0"/>
                </a:solidFill>
              </a:rPr>
              <a:t>03 сентября </a:t>
            </a:r>
            <a:r>
              <a:rPr lang="ru-RU" dirty="0"/>
              <a:t>–</a:t>
            </a:r>
            <a:r>
              <a:rPr lang="ru-RU" sz="4000" dirty="0"/>
              <a:t>соревнования с 10:00 до 14:00 ч. (ФОК «Юбилейный»)</a:t>
            </a:r>
          </a:p>
          <a:p>
            <a:endParaRPr lang="ru-RU" sz="40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8051" y="666106"/>
            <a:ext cx="1627222" cy="10511831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2530007" y="9488510"/>
            <a:ext cx="1056903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70C0"/>
                </a:solidFill>
              </a:rPr>
              <a:t>05 сентября </a:t>
            </a:r>
            <a:r>
              <a:rPr lang="ru-RU" dirty="0"/>
              <a:t>–</a:t>
            </a:r>
            <a:r>
              <a:rPr lang="ru-RU" sz="4000" dirty="0"/>
              <a:t>день отъезда</a:t>
            </a:r>
          </a:p>
          <a:p>
            <a:endParaRPr lang="ru-RU" sz="4000" dirty="0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xmlns="" id="{52F599C8-746A-8E84-A217-FFC1A0B5BE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6555" y="379868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01702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2396" y="339616"/>
            <a:ext cx="2175495" cy="3310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6212505" y="1820171"/>
            <a:ext cx="1224136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600" b="1" dirty="0">
                <a:solidFill>
                  <a:srgbClr val="0070C0"/>
                </a:solidFill>
              </a:rPr>
              <a:t>Место проведения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729091" y="3382383"/>
            <a:ext cx="85899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ул. Братьев Никитиных 10/1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6015" y="4730327"/>
            <a:ext cx="19154128" cy="85689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xmlns="" id="{8046D8F5-9D88-F138-1BD3-9706D48759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21834" y="608195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323" y="812059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33413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2396" y="339616"/>
            <a:ext cx="2175495" cy="3310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6216923" y="1508558"/>
            <a:ext cx="1224136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600" b="1" dirty="0">
                <a:solidFill>
                  <a:srgbClr val="0070C0"/>
                </a:solidFill>
              </a:rPr>
              <a:t>Место проживания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779038" y="2747766"/>
            <a:ext cx="911712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438889">
              <a:defRPr/>
            </a:pPr>
            <a:r>
              <a:rPr lang="ru-RU" b="1" dirty="0"/>
              <a:t>Гостиница «Словакия»</a:t>
            </a:r>
          </a:p>
          <a:p>
            <a:pPr algn="ctr" defTabSz="2438889">
              <a:defRPr/>
            </a:pPr>
            <a:r>
              <a:rPr lang="ru-RU" b="1" dirty="0"/>
              <a:t>(ул. Лермонтова,30)</a:t>
            </a:r>
            <a:endParaRPr lang="en-US" b="1" dirty="0">
              <a:ea typeface="Verdana" charset="0"/>
              <a:cs typeface="Verdana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3167" y="4698554"/>
            <a:ext cx="10712388" cy="856895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57683" y="4698554"/>
            <a:ext cx="11017224" cy="8568950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xmlns="" id="{E62B108A-B01A-84EE-863A-B46A416152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2396" y="450084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07" y="738114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79755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2396" y="339616"/>
            <a:ext cx="2175495" cy="3310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7566513" y="1486896"/>
            <a:ext cx="900100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600" b="1" dirty="0">
                <a:solidFill>
                  <a:srgbClr val="0070C0"/>
                </a:solidFill>
              </a:rPr>
              <a:t>Место питания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585075" y="2966528"/>
            <a:ext cx="911712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2438889">
              <a:defRPr/>
            </a:pPr>
            <a:r>
              <a:rPr lang="ru-RU" b="1" dirty="0"/>
              <a:t>Гостиница «Словакия»</a:t>
            </a:r>
          </a:p>
          <a:p>
            <a:pPr algn="ctr" defTabSz="2438889">
              <a:defRPr/>
            </a:pPr>
            <a:r>
              <a:rPr lang="ru-RU" b="1" dirty="0"/>
              <a:t>(ул. Лермонтова,30)</a:t>
            </a:r>
            <a:endParaRPr lang="en-US" b="1" dirty="0">
              <a:ea typeface="Verdana" charset="0"/>
              <a:cs typeface="Verdana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4795" y="5302028"/>
            <a:ext cx="13753528" cy="7749454"/>
          </a:xfrm>
          <a:prstGeom prst="rect">
            <a:avLst/>
          </a:prstGeom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xmlns="" id="{95AFEFC5-0218-35F7-C9AF-EEA6E77348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21834" y="526864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315" y="945736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47848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00247" y="6582088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2396" y="339616"/>
            <a:ext cx="2175495" cy="3310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176363" y="1834413"/>
            <a:ext cx="170658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F0"/>
                </a:solidFill>
              </a:rPr>
              <a:t>УЧАСТНИКИ КОМАНДЫ САРАТОВСКОЙ ОБЛАСТИ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128691" y="4330240"/>
            <a:ext cx="12097344" cy="60631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Региональная лига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5400" b="1" dirty="0">
                <a:solidFill>
                  <a:schemeClr val="accent2"/>
                </a:solidFill>
              </a:rPr>
              <a:t>Гавриленко Евгений Андреевич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5400" b="1" dirty="0">
                <a:solidFill>
                  <a:schemeClr val="accent2"/>
                </a:solidFill>
              </a:rPr>
              <a:t>Алёнин Павел Николаевич</a:t>
            </a: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5400" b="1" dirty="0" err="1">
                <a:solidFill>
                  <a:schemeClr val="accent2"/>
                </a:solidFill>
              </a:rPr>
              <a:t>Карачаушев</a:t>
            </a:r>
            <a:r>
              <a:rPr lang="ru-RU" sz="5400" b="1" dirty="0">
                <a:solidFill>
                  <a:schemeClr val="accent2"/>
                </a:solidFill>
              </a:rPr>
              <a:t> Георгий </a:t>
            </a:r>
            <a:r>
              <a:rPr lang="ru-RU" sz="5400" b="1" dirty="0" err="1">
                <a:solidFill>
                  <a:schemeClr val="accent2"/>
                </a:solidFill>
              </a:rPr>
              <a:t>Аристотельевич</a:t>
            </a:r>
            <a:endParaRPr lang="ru-RU" sz="5400" b="1" dirty="0">
              <a:solidFill>
                <a:schemeClr val="accent2"/>
              </a:solidFill>
            </a:endParaRP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endParaRPr lang="ru-RU" sz="5400" b="1" dirty="0">
              <a:solidFill>
                <a:schemeClr val="accent2"/>
              </a:solidFill>
            </a:endParaRPr>
          </a:p>
          <a:p>
            <a:pPr marL="514350" indent="-514350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+mj-lt"/>
              <a:buAutoNum type="arabicPeriod"/>
            </a:pPr>
            <a:endParaRPr lang="ru-RU" sz="5400" b="1" dirty="0">
              <a:solidFill>
                <a:schemeClr val="accent2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128691" y="9326258"/>
            <a:ext cx="162610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758F"/>
                </a:solidFill>
              </a:rPr>
              <a:t>Максюта Вячеслав Анатольевич- </a:t>
            </a:r>
            <a:r>
              <a:rPr lang="ru-RU" b="1" dirty="0"/>
              <a:t>тренер сборной команды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xmlns="" id="{3683CEDA-FC6F-AC7B-40F6-E2BDCE9F99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21834" y="489353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483" y="826301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923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2396" y="339616"/>
            <a:ext cx="2175495" cy="3310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176363" y="1834413"/>
            <a:ext cx="170658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F0"/>
                </a:solidFill>
              </a:rPr>
              <a:t>СУДЬИ – 20 человек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770122" y="10747226"/>
            <a:ext cx="933416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ГЛАВНЫЙ СУДЬЯ</a:t>
            </a:r>
          </a:p>
          <a:p>
            <a:pPr algn="ctr"/>
            <a:r>
              <a:rPr lang="ru-RU" b="1" dirty="0"/>
              <a:t>Максюта Вячеслав Анатольевич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1568229" y="10899250"/>
            <a:ext cx="933416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/>
              <a:t>ГЛАВНЫЙ СЕКРЕТАРЬ</a:t>
            </a:r>
            <a:endParaRPr lang="en-US" b="1" dirty="0"/>
          </a:p>
          <a:p>
            <a:pPr algn="ctr"/>
            <a:r>
              <a:rPr lang="ru-RU" b="1" dirty="0" err="1"/>
              <a:t>Ходикова</a:t>
            </a:r>
            <a:r>
              <a:rPr lang="ru-RU" b="1" dirty="0"/>
              <a:t> Елена Викторовн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5780" y="3114324"/>
            <a:ext cx="8785123" cy="7028098"/>
          </a:xfrm>
          <a:prstGeom prst="rect">
            <a:avLst/>
          </a:prstGeom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xmlns="" id="{A0371CFE-82D6-B378-2441-47DE0457F3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95654" y="447318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07" y="776295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29482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2396" y="339616"/>
            <a:ext cx="2175495" cy="3310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204724" y="2213744"/>
            <a:ext cx="170658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F0"/>
                </a:solidFill>
              </a:rPr>
              <a:t>НАГРАЖДЕНИЕ – 3 кубка, 12 дипломов, 12 медалей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172605" y="3186060"/>
            <a:ext cx="1972603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Победители в личном зачете награждаются медалями и дипломами Министерства спорта РФ.</a:t>
            </a:r>
            <a:endParaRPr lang="ru-RU" b="1" dirty="0">
              <a:solidFill>
                <a:srgbClr val="00B0F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176363" y="9163050"/>
            <a:ext cx="1972603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Команды-победители в командном зачете соревнований награждаются Кубками и дипломами Министерства спорта Российской Федерации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429144" y="4778092"/>
            <a:ext cx="113729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accent3">
                    <a:lumMod val="75000"/>
                  </a:schemeClr>
                </a:solidFill>
              </a:rPr>
              <a:t>9 медалей / 9 личных дипломов</a:t>
            </a:r>
          </a:p>
        </p:txBody>
      </p:sp>
      <p:pic>
        <p:nvPicPr>
          <p:cNvPr id="18" name="Picture 3" descr="C:\Users\111\Desktop\Умные города\Преза\кубок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9250" y="10695979"/>
            <a:ext cx="3021609" cy="3021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6" descr="C:\Users\111\Desktop\Умные города\Преза\диплом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88326" y="6157689"/>
            <a:ext cx="2142811" cy="3005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6" descr="C:\Users\111\Desktop\Умные города\Преза\диплом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89731" y="10829614"/>
            <a:ext cx="1963833" cy="2754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6000899" y="11539314"/>
            <a:ext cx="37084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accent3">
                    <a:lumMod val="75000"/>
                  </a:schemeClr>
                </a:solidFill>
              </a:rPr>
              <a:t>3 кубка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5865995" y="11452685"/>
            <a:ext cx="37084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accent3">
                    <a:lumMod val="75000"/>
                  </a:schemeClr>
                </a:solidFill>
              </a:rPr>
              <a:t>3 диплома </a:t>
            </a:r>
          </a:p>
        </p:txBody>
      </p:sp>
      <p:pic>
        <p:nvPicPr>
          <p:cNvPr id="199687" name="Picture 7" descr="C:\Users\111\Desktop\Умные города\Преза\медаль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2013" y="6157689"/>
            <a:ext cx="4025659" cy="22644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>
            <a:extLst>
              <a:ext uri="{FF2B5EF4-FFF2-40B4-BE49-F238E27FC236}">
                <a16:creationId xmlns:a16="http://schemas.microsoft.com/office/drawing/2014/main" xmlns="" id="{AF00AA11-64C7-3C34-FA2D-738B90105C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37757" y="427461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402" y="936766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63439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17924" y="6567255"/>
            <a:ext cx="9169252" cy="7150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2396" y="339616"/>
            <a:ext cx="2175495" cy="3310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176361" y="2203078"/>
            <a:ext cx="19726033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F0"/>
                </a:solidFill>
              </a:rPr>
              <a:t>ВОЛОНТЕРЫ</a:t>
            </a:r>
          </a:p>
          <a:p>
            <a:endParaRPr lang="ru-RU" b="1" dirty="0">
              <a:solidFill>
                <a:srgbClr val="00B0F0"/>
              </a:solidFill>
            </a:endParaRPr>
          </a:p>
          <a:p>
            <a:r>
              <a:rPr lang="ru-RU" sz="4400" b="1" dirty="0">
                <a:solidFill>
                  <a:srgbClr val="00B0F0"/>
                </a:solidFill>
              </a:rPr>
              <a:t>(СПОРОВОЖДЕНИЕ УЧАСТНИКОВ, ОРГАНИЗАЦИЯ РАБОТЫ С КОМАНДАМИ, ПОМОЩЬ И КОНСУЛЬТАЦИЯ УЧАСТНИКОВ)</a:t>
            </a:r>
          </a:p>
        </p:txBody>
      </p:sp>
      <p:pic>
        <p:nvPicPr>
          <p:cNvPr id="21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5361" y="5328764"/>
            <a:ext cx="8293629" cy="271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2901776" y="5757917"/>
            <a:ext cx="681550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bg2"/>
                </a:solidFill>
              </a:rPr>
              <a:t>Народный фитнес-парк </a:t>
            </a:r>
          </a:p>
          <a:p>
            <a:pPr algn="ctr"/>
            <a:r>
              <a:rPr lang="ru-RU" b="1" dirty="0">
                <a:solidFill>
                  <a:schemeClr val="bg2"/>
                </a:solidFill>
              </a:rPr>
              <a:t>ФОК «Юбилейный»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0442260" y="5757917"/>
            <a:ext cx="777686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3 сентября </a:t>
            </a:r>
          </a:p>
          <a:p>
            <a:r>
              <a:rPr lang="ru-RU" b="1" dirty="0"/>
              <a:t>с 09:00 до 14:00 </a:t>
            </a:r>
          </a:p>
          <a:p>
            <a:r>
              <a:rPr lang="ru-RU" b="1" dirty="0"/>
              <a:t>(10 человек)</a:t>
            </a: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1494043" y="8442970"/>
            <a:ext cx="16012355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1494042" y="5328764"/>
            <a:ext cx="16012355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>
            <a:extLst>
              <a:ext uri="{FF2B5EF4-FFF2-40B4-BE49-F238E27FC236}">
                <a16:creationId xmlns:a16="http://schemas.microsoft.com/office/drawing/2014/main" xmlns="" id="{50006EC5-9895-1981-80D0-BDB0CD31DB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95654" y="467606"/>
            <a:ext cx="2388978" cy="360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 descr="C:\Users\1\Desktop\Презентация\smrt city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110" y="666106"/>
            <a:ext cx="18799760" cy="1008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92635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Пользовательские 1">
      <a:dk1>
        <a:srgbClr val="000000"/>
      </a:dk1>
      <a:lt1>
        <a:srgbClr val="FFFFFF"/>
      </a:lt1>
      <a:dk2>
        <a:srgbClr val="20272B"/>
      </a:dk2>
      <a:lt2>
        <a:srgbClr val="FFFFFF"/>
      </a:lt2>
      <a:accent1>
        <a:srgbClr val="43505B"/>
      </a:accent1>
      <a:accent2>
        <a:srgbClr val="00758F"/>
      </a:accent2>
      <a:accent3>
        <a:srgbClr val="006EFF"/>
      </a:accent3>
      <a:accent4>
        <a:srgbClr val="E62C26"/>
      </a:accent4>
      <a:accent5>
        <a:srgbClr val="FFDF00"/>
      </a:accent5>
      <a:accent6>
        <a:srgbClr val="00C800"/>
      </a:accent6>
      <a:hlink>
        <a:srgbClr val="A0A0A0"/>
      </a:hlink>
      <a:folHlink>
        <a:srgbClr val="85DFD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426</TotalTime>
  <Words>404</Words>
  <Application>Microsoft Office PowerPoint</Application>
  <PresentationFormat>Произвольный</PresentationFormat>
  <Paragraphs>72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2" baseType="lpstr">
      <vt:lpstr>Arial</vt:lpstr>
      <vt:lpstr>Calibri</vt:lpstr>
      <vt:lpstr>DIN Pro</vt:lpstr>
      <vt:lpstr>Cera Pro</vt:lpstr>
      <vt:lpstr>DINPro Medium</vt:lpstr>
      <vt:lpstr>Cera Pro Medium</vt:lpstr>
      <vt:lpstr>Verdana</vt:lpstr>
      <vt:lpstr>DINPro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федотов</dc:creator>
  <cp:lastModifiedBy>1</cp:lastModifiedBy>
  <cp:revision>3290</cp:revision>
  <dcterms:created xsi:type="dcterms:W3CDTF">2015-06-18T17:56:23Z</dcterms:created>
  <dcterms:modified xsi:type="dcterms:W3CDTF">2022-08-03T05:54:28Z</dcterms:modified>
</cp:coreProperties>
</file>